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9"/>
  </p:notesMasterIdLst>
  <p:sldIdLst>
    <p:sldId id="257" r:id="rId2"/>
    <p:sldId id="289" r:id="rId3"/>
    <p:sldId id="306" r:id="rId4"/>
    <p:sldId id="291" r:id="rId5"/>
    <p:sldId id="292" r:id="rId6"/>
    <p:sldId id="293" r:id="rId7"/>
    <p:sldId id="294" r:id="rId8"/>
    <p:sldId id="290" r:id="rId9"/>
    <p:sldId id="296" r:id="rId10"/>
    <p:sldId id="297" r:id="rId11"/>
    <p:sldId id="295" r:id="rId12"/>
    <p:sldId id="308" r:id="rId13"/>
    <p:sldId id="299" r:id="rId14"/>
    <p:sldId id="303" r:id="rId15"/>
    <p:sldId id="304" r:id="rId16"/>
    <p:sldId id="310" r:id="rId17"/>
    <p:sldId id="298" r:id="rId18"/>
  </p:sldIdLst>
  <p:sldSz cx="12192000" cy="6858000"/>
  <p:notesSz cx="6858000" cy="9144000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rof. Bernhard Schick" initials="PBS" lastIdx="2" clrIdx="0">
    <p:extLst>
      <p:ext uri="{19B8F6BF-5375-455C-9EA6-DF929625EA0E}">
        <p15:presenceInfo xmlns:p15="http://schemas.microsoft.com/office/powerpoint/2012/main" userId="Prof. Bernhard Schic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82" d="100"/>
          <a:sy n="82" d="100"/>
        </p:scale>
        <p:origin x="662" y="4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A243B-8860-491C-8139-7BF7772EBCC6}" type="datetimeFigureOut">
              <a:rPr lang="de-DE" smtClean="0"/>
              <a:t>07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EB37B-02B3-47FA-A505-675272E8060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324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any thanks - It is a pleasure for me once again to give a presentation at the </a:t>
            </a:r>
            <a:r>
              <a:rPr lang="en-US" dirty="0" err="1"/>
              <a:t>chassis.tech</a:t>
            </a:r>
            <a:r>
              <a:rPr lang="en-US" dirty="0"/>
              <a:t>. Today I would like to raise a question that I am more often asked:  </a:t>
            </a:r>
            <a:r>
              <a:rPr lang="en-US" sz="12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at about digitalization as game changer? And do we still need good vehicle dynamics in the future?</a:t>
            </a:r>
          </a:p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889315-7416-41BF-A94D-C137F486764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8583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1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1" indent="0">
              <a:buNone/>
              <a:defRPr sz="1500"/>
            </a:lvl6pPr>
            <a:lvl7pPr marL="2057399" indent="0">
              <a:buNone/>
              <a:defRPr sz="1500"/>
            </a:lvl7pPr>
            <a:lvl8pPr marL="2400299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234612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7922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bild ohn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"/>
          </p:nvPr>
        </p:nvSpPr>
        <p:spPr>
          <a:xfrm>
            <a:off x="1" y="4"/>
            <a:ext cx="12192008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506003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 mit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0" y="723899"/>
            <a:ext cx="12192000" cy="561975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8573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457181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+Headlin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18626" y="958402"/>
            <a:ext cx="11459037" cy="10227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r>
              <a:rPr lang="en-US" noProof="0" dirty="0"/>
              <a:t>…</a:t>
            </a:r>
          </a:p>
          <a:p>
            <a:pPr lvl="0"/>
            <a:r>
              <a:rPr lang="en-US" noProof="0" dirty="0"/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2106056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3" y="1760524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4231946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Bildplatzhalter 4"/>
          <p:cNvSpPr>
            <a:spLocks noGrp="1"/>
          </p:cNvSpPr>
          <p:nvPr>
            <p:ph type="pic" sz="quarter" idx="18"/>
          </p:nvPr>
        </p:nvSpPr>
        <p:spPr>
          <a:xfrm>
            <a:off x="8078129" y="1760523"/>
            <a:ext cx="3699534" cy="2468563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3" y="4324029"/>
            <a:ext cx="3698875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231946" y="4324029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8078788" y="4342482"/>
            <a:ext cx="3698875" cy="35273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294670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831965"/>
            <a:ext cx="5481177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296488" y="1831965"/>
            <a:ext cx="5481175" cy="3041025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762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>
              <a:defRPr lang="en-US" sz="2000" b="0" noProof="0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noProof="0" dirty="0"/>
              <a:t>…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296486" y="4970299"/>
            <a:ext cx="5481177" cy="360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marL="0" indent="0" algn="ctr">
              <a:buNone/>
              <a:defRPr lang="de-DE" sz="24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901435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0"/>
            <a:ext cx="12192000" cy="7239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 dirty="0"/>
          </a:p>
        </p:txBody>
      </p:sp>
      <p:sp>
        <p:nvSpPr>
          <p:cNvPr id="16" name="Titel 17"/>
          <p:cNvSpPr>
            <a:spLocks noGrp="1"/>
          </p:cNvSpPr>
          <p:nvPr>
            <p:ph type="title"/>
          </p:nvPr>
        </p:nvSpPr>
        <p:spPr>
          <a:xfrm>
            <a:off x="318626" y="117426"/>
            <a:ext cx="11459037" cy="48904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2800" b="0" noProof="0" dirty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extplatzhalter 27"/>
          <p:cNvSpPr>
            <a:spLocks noGrp="1"/>
          </p:cNvSpPr>
          <p:nvPr>
            <p:ph type="body" sz="quarter" idx="14"/>
          </p:nvPr>
        </p:nvSpPr>
        <p:spPr>
          <a:xfrm>
            <a:off x="318626" y="958403"/>
            <a:ext cx="11459037" cy="5873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385762" y="1780282"/>
            <a:ext cx="11391901" cy="4291906"/>
          </a:xfrm>
          <a:prstGeom prst="rect">
            <a:avLst/>
          </a:prstGeom>
        </p:spPr>
        <p:txBody>
          <a:bodyPr/>
          <a:lstStyle/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4647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DF6D0FE-5E69-412E-8404-BD247979FE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9273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4" imgH="424" progId="TCLayout.ActiveDocument.1">
                  <p:embed/>
                </p:oleObj>
              </mc:Choice>
              <mc:Fallback>
                <p:oleObj name="think-cell Slide" r:id="rId12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6343765"/>
            <a:ext cx="12192000" cy="5802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2222" y="585684"/>
            <a:ext cx="11541738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7746624" y="6420652"/>
            <a:ext cx="413088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Kempten </a:t>
            </a:r>
            <a:r>
              <a:rPr lang="en-US" sz="1800" b="1" noProof="0" dirty="0">
                <a:latin typeface="+mj-lt"/>
                <a:cs typeface="Arial" panose="020B0604020202020204" pitchFamily="34" charset="0"/>
              </a:rPr>
              <a:t>University</a:t>
            </a:r>
            <a:r>
              <a:rPr lang="en-US" sz="1800" b="1" baseline="0" noProof="0" dirty="0">
                <a:latin typeface="+mj-lt"/>
                <a:cs typeface="Arial" panose="020B0604020202020204" pitchFamily="34" charset="0"/>
              </a:rPr>
              <a:t> of Applied Sciences</a:t>
            </a:r>
            <a:endParaRPr lang="en-US" sz="1800" b="1" noProof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3" name="Foliennummernplatzhalter 13"/>
          <p:cNvSpPr txBox="1">
            <a:spLocks/>
          </p:cNvSpPr>
          <p:nvPr userDrawn="1"/>
        </p:nvSpPr>
        <p:spPr>
          <a:xfrm>
            <a:off x="84031" y="6444467"/>
            <a:ext cx="5186237" cy="291714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3F8818D-F3AA-4B6C-8CBB-7435AA4C84A8}" type="slidenum">
              <a:rPr lang="de-DE" sz="11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algn="l"/>
              <a:t>‹#›</a:t>
            </a:fld>
            <a:r>
              <a:rPr lang="de-DE" sz="11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/ 07.05.2023 / Karl Mustermann / Mat-Nr. </a:t>
            </a:r>
          </a:p>
        </p:txBody>
      </p:sp>
      <p:sp>
        <p:nvSpPr>
          <p:cNvPr id="23" name="Bildplatzhalter 2"/>
          <p:cNvSpPr txBox="1">
            <a:spLocks/>
          </p:cNvSpPr>
          <p:nvPr userDrawn="1"/>
        </p:nvSpPr>
        <p:spPr>
          <a:xfrm>
            <a:off x="0" y="0"/>
            <a:ext cx="12192009" cy="63614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9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784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tif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63F5E8D-E471-4AFB-80D1-4590DFBE30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0456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">
            <a:extLst>
              <a:ext uri="{FF2B5EF4-FFF2-40B4-BE49-F238E27FC236}">
                <a16:creationId xmlns:a16="http://schemas.microsoft.com/office/drawing/2014/main" id="{F8BAB4F7-5276-42AB-952F-2C473E491A29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54" r="16954"/>
          <a:stretch/>
        </p:blipFill>
        <p:spPr bwMode="auto">
          <a:xfrm>
            <a:off x="0" y="0"/>
            <a:ext cx="12192000" cy="636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eck 5"/>
          <p:cNvSpPr/>
          <p:nvPr/>
        </p:nvSpPr>
        <p:spPr>
          <a:xfrm>
            <a:off x="293324" y="3716323"/>
            <a:ext cx="11627213" cy="2474751"/>
          </a:xfrm>
          <a:prstGeom prst="rect">
            <a:avLst/>
          </a:prstGeom>
          <a:solidFill>
            <a:schemeClr val="tx1">
              <a:lumMod val="50000"/>
              <a:lumOff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293324" y="3800210"/>
            <a:ext cx="11526764" cy="70788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 SS 2023</a:t>
            </a:r>
          </a:p>
        </p:txBody>
      </p:sp>
      <p:pic>
        <p:nvPicPr>
          <p:cNvPr id="10" name="Grafik 9" descr="2013-logo-transparenzen-4farbig-01.ti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963694" y="404972"/>
            <a:ext cx="2980944" cy="1612392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8963694" y="2168904"/>
            <a:ext cx="2980944" cy="719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hteck 2"/>
          <p:cNvSpPr/>
          <p:nvPr/>
        </p:nvSpPr>
        <p:spPr>
          <a:xfrm>
            <a:off x="8963694" y="2180611"/>
            <a:ext cx="29809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0070C0"/>
                </a:solidFill>
                <a:cs typeface="Arial" panose="020B0604020202020204" pitchFamily="34" charset="0"/>
              </a:rPr>
              <a:t>Vehicle Technology SS 22</a:t>
            </a:r>
          </a:p>
          <a:p>
            <a:pPr algn="ctr"/>
            <a:r>
              <a:rPr lang="en-US" sz="2000" dirty="0">
                <a:solidFill>
                  <a:srgbClr val="0070C0"/>
                </a:solidFill>
                <a:cs typeface="Arial" panose="020B0604020202020204" pitchFamily="34" charset="0"/>
              </a:rPr>
              <a:t>Project SS 2022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E4E2165-8281-4A64-AFCB-942F97FB895C}"/>
              </a:ext>
            </a:extLst>
          </p:cNvPr>
          <p:cNvSpPr txBox="1"/>
          <p:nvPr/>
        </p:nvSpPr>
        <p:spPr>
          <a:xfrm>
            <a:off x="293324" y="4993627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me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2C80D34-E3B2-4799-B676-91EBFE92F34B}"/>
              </a:ext>
            </a:extLst>
          </p:cNvPr>
          <p:cNvSpPr txBox="1"/>
          <p:nvPr/>
        </p:nvSpPr>
        <p:spPr>
          <a:xfrm>
            <a:off x="1628571" y="4986877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l </a:t>
            </a:r>
            <a:r>
              <a:rPr lang="en-US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stermann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DA908FA-8C1F-41AB-AF2D-CF32213C87D4}"/>
              </a:ext>
            </a:extLst>
          </p:cNvPr>
          <p:cNvSpPr txBox="1"/>
          <p:nvPr/>
        </p:nvSpPr>
        <p:spPr>
          <a:xfrm>
            <a:off x="293324" y="5373404"/>
            <a:ext cx="11244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-Nr.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0298607-8634-4904-BD61-7DAEB5CEBC46}"/>
              </a:ext>
            </a:extLst>
          </p:cNvPr>
          <p:cNvSpPr txBox="1"/>
          <p:nvPr/>
        </p:nvSpPr>
        <p:spPr>
          <a:xfrm>
            <a:off x="1628571" y="5366654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711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9213760-1B0D-4150-97D9-829E053E4174}"/>
              </a:ext>
            </a:extLst>
          </p:cNvPr>
          <p:cNvSpPr txBox="1"/>
          <p:nvPr/>
        </p:nvSpPr>
        <p:spPr>
          <a:xfrm>
            <a:off x="293324" y="5759931"/>
            <a:ext cx="12838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mester: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B4F72C-D799-460A-9AF3-A007D79775D7}"/>
              </a:ext>
            </a:extLst>
          </p:cNvPr>
          <p:cNvSpPr txBox="1"/>
          <p:nvPr/>
        </p:nvSpPr>
        <p:spPr>
          <a:xfrm>
            <a:off x="1628571" y="5753181"/>
            <a:ext cx="53007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314C276-48E6-4A38-9B1E-D7FC654A286A}"/>
              </a:ext>
            </a:extLst>
          </p:cNvPr>
          <p:cNvSpPr txBox="1"/>
          <p:nvPr/>
        </p:nvSpPr>
        <p:spPr>
          <a:xfrm>
            <a:off x="293324" y="4611124"/>
            <a:ext cx="12838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: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40C748B-DA24-4C24-A7D7-DEE4524C021D}"/>
              </a:ext>
            </a:extLst>
          </p:cNvPr>
          <p:cNvSpPr txBox="1"/>
          <p:nvPr/>
        </p:nvSpPr>
        <p:spPr>
          <a:xfrm>
            <a:off x="1628571" y="4604374"/>
            <a:ext cx="85388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</a:t>
            </a:r>
            <a:r>
              <a:rPr lang="de-DE" sz="1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hrzeugdynamik und Fahrversuch (FT 26) </a:t>
            </a:r>
            <a:r>
              <a:rPr lang="de-DE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-Fahrzeugtechnik</a:t>
            </a:r>
            <a:endParaRPr lang="de-DE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47045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5A00B1D-B731-4985-ACD6-F9F836C41B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343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für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3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zu zwei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astfällen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mit dem Zielfahrzeug durch.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lasterhöhung und Radlastreduzierung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ler Räder beim Bremsen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6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adlasterhöhung und Radlastreduzierung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ler Räder bei Kurvenfahrt R = 100 m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6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48239A7-412B-486A-A803-34D52A4F3CD5}"/>
              </a:ext>
            </a:extLst>
          </p:cNvPr>
          <p:cNvGrpSpPr/>
          <p:nvPr/>
        </p:nvGrpSpPr>
        <p:grpSpPr>
          <a:xfrm>
            <a:off x="726032" y="2654302"/>
            <a:ext cx="10918572" cy="2993235"/>
            <a:chOff x="726032" y="2654302"/>
            <a:chExt cx="6711115" cy="2993235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0586608-93D2-4324-9F62-491672B9EB7A}"/>
                </a:ext>
              </a:extLst>
            </p:cNvPr>
            <p:cNvSpPr/>
            <p:nvPr/>
          </p:nvSpPr>
          <p:spPr>
            <a:xfrm>
              <a:off x="726032" y="265430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Radlasterhöhung und Radlastreduzierung beim Bremse</a:t>
              </a:r>
            </a:p>
          </p:txBody>
        </p:sp>
        <p:sp>
          <p:nvSpPr>
            <p:cNvPr id="18" name="Rechteck 17">
              <a:extLst>
                <a:ext uri="{FF2B5EF4-FFF2-40B4-BE49-F238E27FC236}">
                  <a16:creationId xmlns:a16="http://schemas.microsoft.com/office/drawing/2014/main" id="{8223A30D-AEB4-4901-970A-4B90E7973F16}"/>
                </a:ext>
              </a:extLst>
            </p:cNvPr>
            <p:cNvSpPr/>
            <p:nvPr/>
          </p:nvSpPr>
          <p:spPr>
            <a:xfrm>
              <a:off x="4173830" y="265430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Radlasterhöhung und Radlastreduzierung bei Kurvenfah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0955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dynamische Eigenschaften (1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4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charakteristische Geschwindigkeit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das entsprechende Fahrmanöver mit Referenz au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das Ergebnis und zeigen Sie die Ermittlung der charakteristische Geschwindigkeit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e verändert sich die charakteristische Geschwindigkeit zur Basisversion, wenn sie den Stabilisator vorne und hinten aushängen (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plification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0)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tellen Sie dies in der Tabelle dar und bewerten das Ergebnis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uchsdarstellun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tabelle 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Basis, Variante 1, Variante 2</a:t>
            </a:r>
          </a:p>
        </p:txBody>
      </p:sp>
    </p:spTree>
    <p:extLst>
      <p:ext uri="{BB962C8B-B14F-4D97-AF65-F5344CB8AC3E}">
        <p14:creationId xmlns:p14="http://schemas.microsoft.com/office/powerpoint/2010/main" val="3827245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97E642E-3454-4955-BBBD-4E5B312050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6089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Eigenschaften (2)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797174" cy="22006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5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gleichen Sie die Fahreigenschaften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de-DE" sz="1600" b="1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on Ihnen </a:t>
            </a:r>
            <a:r>
              <a:rPr lang="de-DE" sz="1600" b="1" u="sng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erierten Fahrzeug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t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VW370_BSAC2188_IDIADA_V10_modi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 dem Projekt CM_9.0_Golf_GTD_Training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mehrere relevante Fahrmanöver für stationäres und transientes Verhalten au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mulieren Sie die Fahrzeuge im Vergleich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die Ergebnis im Verglei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xtrahieren Sie die 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ichtigen </a:t>
            </a:r>
            <a:r>
              <a:rPr lang="de-DE" sz="1600" u="sng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KPI‘s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werten Sie das Fahrverhalten beider Fahrzeuge im Vergleich zu Ihrem Fahrzeug.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Manöverkatalog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338818"/>
            <a:ext cx="3263317" cy="26492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ewertung des Fahrverhalten beider Fahrzeuge im Vergleich</a:t>
            </a:r>
          </a:p>
        </p:txBody>
      </p:sp>
    </p:spTree>
    <p:extLst>
      <p:ext uri="{BB962C8B-B14F-4D97-AF65-F5344CB8AC3E}">
        <p14:creationId xmlns:p14="http://schemas.microsoft.com/office/powerpoint/2010/main" val="364798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dynamische Optimierung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6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sollen die stationäre Kurveneigenschaften beim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 </a:t>
            </a: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ptimieren. Stellen Sie mögliche und machbare Maßnahmen dar zeigen Sie die Wirkung und Wechselwirkung an Hand der Simulation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systematisch an Hand von Wirkketten mögliche Maßnahmen führen damit Experimente dur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ckermannwinkel am Lenkrad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lt; 20°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lenkverhalten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lt; 2°/g oder &lt; 30°/g am Lenkrad 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ximale Querbeschleunigung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gt; 9,5 m/s²</a:t>
            </a:r>
            <a:endParaRPr lang="de-DE" sz="16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anksteifigkeit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Zielwert &lt; 3,2 °/g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eine systematische Parameterstudie durch, übertragen Sie die Ergebnisse in eine Tabelle und arbeiten die beste Lösung heraus. Begründen Sie die Lösung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56A6A9-FA4D-4747-9324-63FA7726EB3C}"/>
              </a:ext>
            </a:extLst>
          </p:cNvPr>
          <p:cNvSpPr/>
          <p:nvPr/>
        </p:nvSpPr>
        <p:spPr>
          <a:xfrm>
            <a:off x="805342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irkkette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7C29D240-1D84-4E0F-BCB0-2A1217790BD5}"/>
              </a:ext>
            </a:extLst>
          </p:cNvPr>
          <p:cNvSpPr/>
          <p:nvPr/>
        </p:nvSpPr>
        <p:spPr>
          <a:xfrm>
            <a:off x="4253140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plots und KPI Ermittlung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8E00DA5-4F1F-42CF-A91B-D0568BABD408}"/>
              </a:ext>
            </a:extLst>
          </p:cNvPr>
          <p:cNvSpPr/>
          <p:nvPr/>
        </p:nvSpPr>
        <p:spPr>
          <a:xfrm>
            <a:off x="7700938" y="3714482"/>
            <a:ext cx="3263317" cy="24647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Ergebnistabelle 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Varianten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Auswahl und Begründung.</a:t>
            </a:r>
          </a:p>
        </p:txBody>
      </p:sp>
    </p:spTree>
    <p:extLst>
      <p:ext uri="{BB962C8B-B14F-4D97-AF65-F5344CB8AC3E}">
        <p14:creationId xmlns:p14="http://schemas.microsoft.com/office/powerpoint/2010/main" val="42025015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09C5EA-B085-425B-ACA0-67EC04CB49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224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Analy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BDCE7F-F323-41A9-9F93-34AE184E2631}"/>
              </a:ext>
            </a:extLst>
          </p:cNvPr>
          <p:cNvSpPr txBox="1"/>
          <p:nvPr/>
        </p:nvSpPr>
        <p:spPr>
          <a:xfrm>
            <a:off x="318626" y="944493"/>
            <a:ext cx="11266570" cy="39241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7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as transiente Verhalten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 Hand des Frequenzverhaltens vom </a:t>
            </a:r>
            <a:r>
              <a:rPr lang="en-US" sz="1600" b="1" dirty="0">
                <a:solidFill>
                  <a:srgbClr val="00B0F0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W_GolfGTD_0191_v7_CM7_5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mit eigener Auswerteroutine per Hand, XLS oder automatisch</a:t>
            </a:r>
            <a:endParaRPr lang="de-DE" sz="1600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tellen Sie den Fahrversuch entsprechend der ISO inkl. Vorversuch mit folgende Bedingungen:</a:t>
            </a:r>
            <a:b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 =  100 km/h; f = 0,2 – 4 Hz, Sine Sweep (Dauer ca. 40 s), </a:t>
            </a:r>
            <a:r>
              <a:rPr lang="de-DE" sz="1600" u="sng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oder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Sinusstufen (0,2; 0,4; 0,6; 0,8, 1,0; 1,2; 1,5; 2,0; 3,0; 4,0 Hz);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600" baseline="-250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= 4 m/s²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tellen Sie ein Bodediagramm (Amplitudengang + Phasengang) für die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erverstärkung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 </a:t>
            </a:r>
            <a:b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erten Sie dazu die Peaks (Amplitude) und Nulldurchgänge (Phase) aus. 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Überführen Sie die Daten in Excel oder </a:t>
            </a:r>
            <a:r>
              <a:rPr lang="de-DE" sz="1600" b="1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tlab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und berechnen die notwendigen Größen.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Erzeugen Sie das entsprechende Bodediagramm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ragen Sie in das Bodediagramm die KPIs ein. Zeigen Sie an Hand Pfeilen in welche Richtung (Trend) sich die KPIs für sportliche Fahrzeuge verändern sollten. 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t welcher zeitlichen Verzögerung (</a:t>
            </a:r>
            <a:r>
              <a:rPr lang="el-GR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Δ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) und Sequenz antwortet das Fahrzeug auf die Lenkeingabe (t</a:t>
            </a:r>
            <a:r>
              <a:rPr lang="de-DE" sz="1600" baseline="-25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 in den Größen Querbeschleunigung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ierrate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ankwinkel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bei einer Frequenz von 0,6 Hz? Erstellen Sie dazu ein Balkendiagramm. Wie erklärt sich die Reihenfolge an den Wirkmechanismen? Erstellen Sie dazu eine Wirkkette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alidieren Sie Ihre Ergebnisse mit </a:t>
            </a:r>
            <a:r>
              <a:rPr lang="de-DE" sz="1600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xeval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AB5B4BC-C670-4DBF-91CA-E33D755CF79D}"/>
              </a:ext>
            </a:extLst>
          </p:cNvPr>
          <p:cNvGrpSpPr/>
          <p:nvPr/>
        </p:nvGrpSpPr>
        <p:grpSpPr>
          <a:xfrm>
            <a:off x="760601" y="4868644"/>
            <a:ext cx="10670797" cy="1376914"/>
            <a:chOff x="805342" y="4454554"/>
            <a:chExt cx="6711115" cy="1533550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7956A6A9-FA4D-4747-9324-63FA7726EB3C}"/>
                </a:ext>
              </a:extLst>
            </p:cNvPr>
            <p:cNvSpPr/>
            <p:nvPr/>
          </p:nvSpPr>
          <p:spPr>
            <a:xfrm>
              <a:off x="805342" y="4454554"/>
              <a:ext cx="3263317" cy="1533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Versuchsdarstellung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7C29D240-1D84-4E0F-BCB0-2A1217790BD5}"/>
                </a:ext>
              </a:extLst>
            </p:cNvPr>
            <p:cNvSpPr/>
            <p:nvPr/>
          </p:nvSpPr>
          <p:spPr>
            <a:xfrm>
              <a:off x="4253140" y="4454554"/>
              <a:ext cx="3263317" cy="15335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Ergebnis- und Berechnungstabel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81802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D02584-AFB2-479B-8F08-6852D683F5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414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ahrdynamische Analyse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5056CE03-8A4B-43DB-8798-ACA159BA34E4}"/>
              </a:ext>
            </a:extLst>
          </p:cNvPr>
          <p:cNvGrpSpPr/>
          <p:nvPr/>
        </p:nvGrpSpPr>
        <p:grpSpPr>
          <a:xfrm>
            <a:off x="318626" y="1073790"/>
            <a:ext cx="11459037" cy="4966283"/>
            <a:chOff x="318626" y="1073790"/>
            <a:chExt cx="11459037" cy="4458363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E1F489CA-7DC1-4813-B5B4-D0EBF8712D98}"/>
                </a:ext>
              </a:extLst>
            </p:cNvPr>
            <p:cNvGrpSpPr/>
            <p:nvPr/>
          </p:nvGrpSpPr>
          <p:grpSpPr>
            <a:xfrm>
              <a:off x="318627" y="1073790"/>
              <a:ext cx="11459036" cy="2122416"/>
              <a:chOff x="318627" y="1073790"/>
              <a:chExt cx="10814964" cy="5025006"/>
            </a:xfrm>
          </p:grpSpPr>
          <p:sp>
            <p:nvSpPr>
              <p:cNvPr id="9" name="Rechteck 8">
                <a:extLst>
                  <a:ext uri="{FF2B5EF4-FFF2-40B4-BE49-F238E27FC236}">
                    <a16:creationId xmlns:a16="http://schemas.microsoft.com/office/drawing/2014/main" id="{C8E00DA5-4F1F-42CF-A91B-D0568BABD408}"/>
                  </a:ext>
                </a:extLst>
              </p:cNvPr>
              <p:cNvSpPr/>
              <p:nvPr/>
            </p:nvSpPr>
            <p:spPr>
              <a:xfrm>
                <a:off x="31862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odediagramm mit KPIs mit Trend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(Amplitudengang)</a:t>
                </a:r>
              </a:p>
              <a:p>
                <a:pPr algn="ctr"/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1FEDED9F-AA6F-48A1-983F-8B691D991D6C}"/>
                  </a:ext>
                </a:extLst>
              </p:cNvPr>
              <p:cNvSpPr/>
              <p:nvPr/>
            </p:nvSpPr>
            <p:spPr>
              <a:xfrm>
                <a:off x="579803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odediagramm</a:t>
                </a:r>
                <a:br>
                  <a:rPr lang="de-DE" dirty="0">
                    <a:solidFill>
                      <a:schemeClr val="tx1"/>
                    </a:solidFill>
                  </a:rPr>
                </a:br>
                <a:r>
                  <a:rPr lang="de-DE" dirty="0">
                    <a:solidFill>
                      <a:schemeClr val="tx1"/>
                    </a:solidFill>
                  </a:rPr>
                  <a:t>(Phasengang)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4528B0E4-71AA-4EEE-80FB-47D42986F310}"/>
                </a:ext>
              </a:extLst>
            </p:cNvPr>
            <p:cNvGrpSpPr/>
            <p:nvPr/>
          </p:nvGrpSpPr>
          <p:grpSpPr>
            <a:xfrm>
              <a:off x="318626" y="3409737"/>
              <a:ext cx="11459036" cy="2122416"/>
              <a:chOff x="318627" y="1073790"/>
              <a:chExt cx="10814964" cy="5025006"/>
            </a:xfrm>
          </p:grpSpPr>
          <p:sp>
            <p:nvSpPr>
              <p:cNvPr id="12" name="Rechteck 11">
                <a:extLst>
                  <a:ext uri="{FF2B5EF4-FFF2-40B4-BE49-F238E27FC236}">
                    <a16:creationId xmlns:a16="http://schemas.microsoft.com/office/drawing/2014/main" id="{F28FD4A7-EDA5-4DD3-98EF-6E057F15F689}"/>
                  </a:ext>
                </a:extLst>
              </p:cNvPr>
              <p:cNvSpPr/>
              <p:nvPr/>
            </p:nvSpPr>
            <p:spPr>
              <a:xfrm>
                <a:off x="31862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Balkendiagramm der zeitlichen</a:t>
                </a:r>
              </a:p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Verzögerung und Sequenz </a:t>
                </a:r>
              </a:p>
            </p:txBody>
          </p:sp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6865755A-8030-4B5E-93D9-46C3E918E33E}"/>
                  </a:ext>
                </a:extLst>
              </p:cNvPr>
              <p:cNvSpPr/>
              <p:nvPr/>
            </p:nvSpPr>
            <p:spPr>
              <a:xfrm>
                <a:off x="5798037" y="1073790"/>
                <a:ext cx="5335554" cy="502500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Wirkkett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649425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09C5EA-B085-425B-ACA0-67EC04CB49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209C5EA-B085-425B-ACA0-67EC04CB4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irksamkeitstest ESP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2EBDCE7F-F323-41A9-9F93-34AE184E2631}"/>
                  </a:ext>
                </a:extLst>
              </p:cNvPr>
              <p:cNvSpPr txBox="1"/>
              <p:nvPr/>
            </p:nvSpPr>
            <p:spPr>
              <a:xfrm>
                <a:off x="318626" y="944493"/>
                <a:ext cx="11266570" cy="393954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342900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rabicPeriod" startAt="8"/>
                </a:pPr>
                <a:r>
                  <a:rPr lang="de-DE" sz="1600" b="1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ie sollen im Zuge einer Homologation ein ESP auf die Wirksamkeit hin testen. In der ECE 13H wird hierzu der Sine </a:t>
                </a:r>
                <a:r>
                  <a:rPr lang="de-DE" sz="1600" b="1" dirty="0" err="1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with</a:t>
                </a:r>
                <a:r>
                  <a:rPr lang="de-DE" sz="1600" b="1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1600" b="1" dirty="0" err="1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Dwell</a:t>
                </a:r>
                <a:r>
                  <a:rPr lang="de-DE" sz="1600" b="1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gefordert. Verwenden Sie dazu das </a:t>
                </a:r>
                <a:r>
                  <a:rPr lang="de-DE" sz="1600" b="1" dirty="0" err="1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CarMaker</a:t>
                </a:r>
                <a:r>
                  <a:rPr lang="de-DE" sz="1600" b="1" dirty="0">
                    <a:effectLst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Projekt „ADAS_Master_ESP_CM9“ </a:t>
                </a:r>
              </a:p>
              <a:p>
                <a:pPr marL="800100" lvl="1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Führen Sie den notwendigen Vorversuch durch und identifizieren Sie die die notwendige Lenkwinkelamplitude A. Stellen Sie das Ergebnis als Plot dar und zeichnen den identifizierten Wert ein. </a:t>
                </a:r>
              </a:p>
              <a:p>
                <a:pPr marL="800100" lvl="1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Führen Sie den Hauptversuch entsprechend der ECE13H mit 1,5A – 6,5 A durch und tragen Sie folgende Ergebnisse in eine übersichtliche Tabelle ein und stellen das Ergebnis als dar und tragen die wichtigen Kriterien in den Plot ein . </a:t>
                </a: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XA (1,5A, 2,0 A, 2,5 A …) [°]</a:t>
                </a: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800" i="1" kern="1200" smtClean="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cs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800" i="1" kern="12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Cambria Math" panose="02040503050406030204" pitchFamily="18" charset="0"/>
                          </a:rPr>
                          <m:t>𝛿</m:t>
                        </m:r>
                      </m:e>
                      <m:sub>
                        <m:r>
                          <a:rPr lang="de-DE" sz="1800" i="1" kern="1200">
                            <a:solidFill>
                              <a:srgbClr val="000000"/>
                            </a:solidFill>
                            <a:effectLst/>
                            <a:latin typeface="Cambria Math" panose="02040503050406030204" pitchFamily="18" charset="0"/>
                            <a:ea typeface="Arial" panose="020B0604020202020204" pitchFamily="34" charset="0"/>
                            <a:cs typeface="Cambria Math" panose="02040503050406030204" pitchFamily="18" charset="0"/>
                          </a:rPr>
                          <m:t>𝐻</m:t>
                        </m:r>
                      </m:sub>
                    </m:sSub>
                  </m:oMath>
                </a14:m>
                <a:r>
                  <a:rPr lang="de-AT" sz="1800" kern="1200" dirty="0">
                    <a:solidFill>
                      <a:srgbClr val="000000"/>
                    </a:solidFill>
                    <a:effectLst/>
                    <a:latin typeface="Cambria Math" panose="02040503050406030204" pitchFamily="18" charset="0"/>
                    <a:ea typeface="Arial" panose="020B0604020202020204" pitchFamily="34" charset="0"/>
                    <a:cs typeface="Cambria Math" panose="02040503050406030204" pitchFamily="18" charset="0"/>
                  </a:rPr>
                  <a:t>[°]</a:t>
                </a:r>
                <a:endParaRPr lang="de-DE" sz="1600" dirty="0"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T</a:t>
                </a:r>
                <a:r>
                  <a:rPr lang="de-DE" sz="1600" baseline="-250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0</a:t>
                </a: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[s]</a:t>
                </a: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 err="1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awRate</a:t>
                </a:r>
                <a:r>
                  <a:rPr lang="de-DE" sz="1600" baseline="-25000" dirty="0" err="1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max</a:t>
                </a:r>
                <a:endParaRPr lang="de-DE" sz="1600" baseline="-25000" dirty="0"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Stabilitätskriterien: </a:t>
                </a:r>
                <a:r>
                  <a:rPr lang="de-DE" sz="1600" dirty="0" err="1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awRate</a:t>
                </a:r>
                <a:r>
                  <a:rPr lang="de-DE" sz="1600" baseline="-250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(T0+1s)</a:t>
                </a: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de-DE" sz="1600" dirty="0" err="1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YawRate</a:t>
                </a:r>
                <a:r>
                  <a:rPr lang="de-DE" sz="1600" baseline="-250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(T0+1,75s)</a:t>
                </a:r>
                <a:endParaRPr lang="de-DE" sz="1600" dirty="0"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257300" lvl="2" indent="-342900">
                  <a:spcBef>
                    <a:spcPts val="300"/>
                  </a:spcBef>
                  <a:spcAft>
                    <a:spcPts val="300"/>
                  </a:spcAft>
                  <a:buFont typeface="+mj-lt"/>
                  <a:buAutoNum type="alphaLcParenR"/>
                </a:pP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Manövrierbarkeit: Lateral </a:t>
                </a:r>
                <a:r>
                  <a:rPr lang="de-DE" sz="1600" dirty="0" err="1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Displacement</a:t>
                </a:r>
                <a:r>
                  <a:rPr lang="de-DE" sz="1600" dirty="0"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Response</a:t>
                </a:r>
              </a:p>
            </p:txBody>
          </p:sp>
        </mc:Choice>
        <mc:Fallback xmlns="">
          <p:sp>
            <p:nvSpPr>
              <p:cNvPr id="6" name="Textfeld 5">
                <a:extLst>
                  <a:ext uri="{FF2B5EF4-FFF2-40B4-BE49-F238E27FC236}">
                    <a16:creationId xmlns:a16="http://schemas.microsoft.com/office/drawing/2014/main" id="{2EBDCE7F-F323-41A9-9F93-34AE184E26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8626" y="944493"/>
                <a:ext cx="11266570" cy="3939540"/>
              </a:xfrm>
              <a:prstGeom prst="rect">
                <a:avLst/>
              </a:prstGeom>
              <a:blipFill>
                <a:blip r:embed="rId6"/>
                <a:stretch>
                  <a:fillRect l="-216" t="-464" r="-271" b="-108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127074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ellenverzeichnis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EBCAC59-07D1-4A9F-BDAD-4833A92623E5}"/>
              </a:ext>
            </a:extLst>
          </p:cNvPr>
          <p:cNvSpPr txBox="1"/>
          <p:nvPr/>
        </p:nvSpPr>
        <p:spPr>
          <a:xfrm>
            <a:off x="318626" y="944493"/>
            <a:ext cx="112665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1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Quelle 2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arenBoth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…    </a:t>
            </a:r>
          </a:p>
        </p:txBody>
      </p:sp>
    </p:spTree>
    <p:extLst>
      <p:ext uri="{BB962C8B-B14F-4D97-AF65-F5344CB8AC3E}">
        <p14:creationId xmlns:p14="http://schemas.microsoft.com/office/powerpoint/2010/main" val="2859310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ckblat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Tragen Sie hier die gewünschten Daten und Ihre Selbsteinschätzungen ein.</a:t>
            </a:r>
          </a:p>
        </p:txBody>
      </p:sp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B0793C72-5D70-4559-B829-614E2E90EB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2624641"/>
              </p:ext>
            </p:extLst>
          </p:nvPr>
        </p:nvGraphicFramePr>
        <p:xfrm>
          <a:off x="454389" y="2496015"/>
          <a:ext cx="6298268" cy="259588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045049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4253219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Vorname/Name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="0" dirty="0"/>
                        <a:t>Karl Musterm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Mat-Nr.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47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Semester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err="1"/>
                        <a:t>CarMaker</a:t>
                      </a:r>
                      <a:r>
                        <a:rPr lang="de-DE" dirty="0"/>
                        <a:t> Version: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9.x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Zeitaufwan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b="0" dirty="0"/>
                        <a:t>z.B. 16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1560023"/>
                  </a:ext>
                </a:extLst>
              </a:tr>
            </a:tbl>
          </a:graphicData>
        </a:graphic>
      </p:graphicFrame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1CA30352-A206-474B-81B4-5531C9EFA1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227964"/>
              </p:ext>
            </p:extLst>
          </p:nvPr>
        </p:nvGraphicFramePr>
        <p:xfrm>
          <a:off x="6940478" y="1738827"/>
          <a:ext cx="4527272" cy="409474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71864">
                  <a:extLst>
                    <a:ext uri="{9D8B030D-6E8A-4147-A177-3AD203B41FA5}">
                      <a16:colId xmlns:a16="http://schemas.microsoft.com/office/drawing/2014/main" val="3873514529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3091976081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2811829515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1698268731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540688175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843689907"/>
                    </a:ext>
                  </a:extLst>
                </a:gridCol>
                <a:gridCol w="542568">
                  <a:extLst>
                    <a:ext uri="{9D8B030D-6E8A-4147-A177-3AD203B41FA5}">
                      <a16:colId xmlns:a16="http://schemas.microsoft.com/office/drawing/2014/main" val="1327166322"/>
                    </a:ext>
                  </a:extLst>
                </a:gridCol>
              </a:tblGrid>
              <a:tr h="1128028">
                <a:tc>
                  <a:txBody>
                    <a:bodyPr/>
                    <a:lstStyle/>
                    <a:p>
                      <a:r>
                        <a:rPr lang="de-DE" sz="1400" b="0" dirty="0"/>
                        <a:t>Bewertung</a:t>
                      </a:r>
                    </a:p>
                    <a:p>
                      <a:r>
                        <a:rPr lang="de-DE" sz="1400" b="0" dirty="0"/>
                        <a:t>1 = gering</a:t>
                      </a:r>
                    </a:p>
                    <a:p>
                      <a:r>
                        <a:rPr lang="de-DE" sz="1400" b="0" dirty="0"/>
                        <a:t>7 = ho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Vorkenntnisse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Umfang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plexität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Arbeits-aufwand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Kompetenz-</a:t>
                      </a:r>
                      <a:br>
                        <a:rPr lang="de-DE" sz="1400" b="0" dirty="0"/>
                      </a:br>
                      <a:r>
                        <a:rPr lang="de-DE" sz="1400" b="0" dirty="0"/>
                        <a:t>gewinn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dirty="0"/>
                        <a:t>Lösungsgrad</a:t>
                      </a:r>
                    </a:p>
                  </a:txBody>
                  <a:tcPr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0458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b="0" dirty="0"/>
                        <a:t>Frage 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8365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5262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56866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51618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83897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7654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8589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/>
                        <a:t>Frage 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de-DE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9981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2394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6A926E0-AB64-42A3-947F-87B6CF95DE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42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de-DE" dirty="0"/>
              <a:t>Das Projekt ist eine praktische Übung zur Vorbereitung auf die Prüfung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6" y="1564433"/>
            <a:ext cx="11333683" cy="46465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die Ergebnisse des Projektes als Unterlagen in der Prüfung verwenden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Fragen in der Prüfungen gehen auf die Aufgaben und Ergebnisse des Projekt ein. 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b="1" dirty="0">
                <a:solidFill>
                  <a:srgbClr val="C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die Ergebnisse ausdrucken und bei der Prüfung abgeben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, damit eine Bewertung besser und umfassender möglich ist. 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wenden Sie die </a:t>
            </a:r>
            <a:r>
              <a:rPr lang="de-DE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werPoint Vorlage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zur Bearbeitung der Aufgaben und Darstellung der Ergebnisse.</a:t>
            </a:r>
            <a:endParaRPr lang="de-DE" dirty="0"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merken Sie bitte Ihren </a:t>
            </a:r>
            <a:r>
              <a:rPr lang="de-DE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amen und Matrikelnummer 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 der Titelseit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, Deckblatt und 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folie dieser Vorlage.</a:t>
            </a: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arbeiten Sie die Projektaufgaben 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und illustrieren Sie die Ergebnisse. </a:t>
            </a:r>
            <a:endParaRPr lang="de-DE" b="1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ilfsmittel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: Alle, insbesondere zu verwenden ist die </a:t>
            </a:r>
            <a:r>
              <a:rPr lang="de-DE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Fahrdynamiksimulatio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stausch und Gruppenarbeit 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st grundsätzlich erlaubt. Es muss aber eine </a:t>
            </a:r>
            <a:r>
              <a:rPr lang="de-DE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genständige Bearbeitung </a:t>
            </a:r>
            <a:r>
              <a:rPr lang="de-DE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sichtlich sein. </a:t>
            </a:r>
            <a:r>
              <a:rPr lang="de-DE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s verwendete Fahrzeug ist individuell und daher sind alle Ergebnisse unterschiedlich.</a:t>
            </a:r>
            <a:endParaRPr lang="de-DE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C9D433-0460-4A70-9DCA-6483201946B7}"/>
              </a:ext>
            </a:extLst>
          </p:cNvPr>
          <p:cNvSpPr txBox="1"/>
          <p:nvPr/>
        </p:nvSpPr>
        <p:spPr>
          <a:xfrm>
            <a:off x="7851881" y="83253"/>
            <a:ext cx="37509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800" dirty="0">
                <a:solidFill>
                  <a:srgbClr val="C00000"/>
                </a:solidFill>
              </a:rPr>
              <a:t>Nicht ausdrucken!</a:t>
            </a:r>
          </a:p>
        </p:txBody>
      </p:sp>
    </p:spTree>
    <p:extLst>
      <p:ext uri="{BB962C8B-B14F-4D97-AF65-F5344CB8AC3E}">
        <p14:creationId xmlns:p14="http://schemas.microsoft.com/office/powerpoint/2010/main" val="2875922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C1B10269-3CED-4E80-AFE1-F52A87493D4B}"/>
              </a:ext>
            </a:extLst>
          </p:cNvPr>
          <p:cNvSpPr/>
          <p:nvPr/>
        </p:nvSpPr>
        <p:spPr>
          <a:xfrm>
            <a:off x="414338" y="958402"/>
            <a:ext cx="6020018" cy="4941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D6A1495-5C7A-4BB3-B60E-BD46A3D23DD5}"/>
              </a:ext>
            </a:extLst>
          </p:cNvPr>
          <p:cNvSpPr/>
          <p:nvPr/>
        </p:nvSpPr>
        <p:spPr>
          <a:xfrm>
            <a:off x="6895750" y="958402"/>
            <a:ext cx="4672668" cy="4941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und Bearbeitungshinweis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6895751" y="1556448"/>
            <a:ext cx="4672668" cy="337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ufgabe wurde gelös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wendung des Wissens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ystematik und Methodik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wertungskompetenz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ransfer von Wissens zur Lösung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qualitä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gebnisdarstellung</a:t>
            </a:r>
            <a:endParaRPr lang="de-DE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endParaRPr lang="de-DE" sz="14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F25CC50-E5A0-400C-8887-2A9BABF33E09}"/>
              </a:ext>
            </a:extLst>
          </p:cNvPr>
          <p:cNvSpPr txBox="1"/>
          <p:nvPr/>
        </p:nvSpPr>
        <p:spPr>
          <a:xfrm>
            <a:off x="414337" y="1556447"/>
            <a:ext cx="6020017" cy="4106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llustrieren Sie möglichst mit grafischen Darstellung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e grauen Boxen zeigen Ihnen, welche Darstellungen (z.B.  Grafiken, Diagramme, Tabelle) mindestens zu erstellen sind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keine Screenshots von selbst erstellten Grafiken und Tabellen erstellen. Sonstige Quellen/Literaturstellen sind zu referenzieren [1].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jederzeit eine Folie aus dem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ster 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azufüg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itte verwenden Sie gängige Einheiten wie km/h, °, °/s, N …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ormeln sind mathematisch korrekt zu erstellen.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ie dürfen gerne die Ergebnisse in Excel oder </a:t>
            </a:r>
            <a:r>
              <a:rPr lang="de-DE" sz="16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tlab</a:t>
            </a: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exportieren.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7086C1-D298-4C50-A80C-BBF292B5B117}"/>
              </a:ext>
            </a:extLst>
          </p:cNvPr>
          <p:cNvSpPr/>
          <p:nvPr/>
        </p:nvSpPr>
        <p:spPr>
          <a:xfrm>
            <a:off x="414336" y="947826"/>
            <a:ext cx="6020017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08BA2EB4-1475-4277-BF0E-874C13DC35E7}"/>
              </a:ext>
            </a:extLst>
          </p:cNvPr>
          <p:cNvSpPr txBox="1">
            <a:spLocks/>
          </p:cNvSpPr>
          <p:nvPr/>
        </p:nvSpPr>
        <p:spPr>
          <a:xfrm>
            <a:off x="414337" y="958402"/>
            <a:ext cx="6020016" cy="489398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inweis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64FD272-011F-4A73-B39A-A4D27D247D43}"/>
              </a:ext>
            </a:extLst>
          </p:cNvPr>
          <p:cNvSpPr/>
          <p:nvPr/>
        </p:nvSpPr>
        <p:spPr>
          <a:xfrm>
            <a:off x="6895747" y="969557"/>
            <a:ext cx="4672669" cy="4949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6895749" y="958402"/>
            <a:ext cx="4672669" cy="489398"/>
          </a:xfrm>
        </p:spPr>
        <p:txBody>
          <a:bodyPr>
            <a:normAutofit/>
          </a:bodyPr>
          <a:lstStyle/>
          <a:p>
            <a:r>
              <a:rPr lang="de-DE" dirty="0"/>
              <a:t>Bewertungskriteri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A82A366-D6F7-46B2-A98D-4009F95FCDD8}"/>
              </a:ext>
            </a:extLst>
          </p:cNvPr>
          <p:cNvSpPr txBox="1"/>
          <p:nvPr/>
        </p:nvSpPr>
        <p:spPr>
          <a:xfrm>
            <a:off x="7851881" y="83253"/>
            <a:ext cx="37509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2800" dirty="0">
                <a:solidFill>
                  <a:srgbClr val="C00000"/>
                </a:solidFill>
              </a:rPr>
              <a:t>Nicht ausdrucken!</a:t>
            </a:r>
          </a:p>
        </p:txBody>
      </p:sp>
    </p:spTree>
    <p:extLst>
      <p:ext uri="{BB962C8B-B14F-4D97-AF65-F5344CB8AC3E}">
        <p14:creationId xmlns:p14="http://schemas.microsoft.com/office/powerpoint/2010/main" val="32711989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aufgab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01106-0A8C-44E9-9C97-4D433F8C6358}"/>
              </a:ext>
            </a:extLst>
          </p:cNvPr>
          <p:cNvSpPr txBox="1"/>
          <p:nvPr/>
        </p:nvSpPr>
        <p:spPr>
          <a:xfrm>
            <a:off x="318626" y="977608"/>
            <a:ext cx="11258182" cy="4909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sz="2400" b="1" dirty="0"/>
              <a:t>Sie haben die Aufgabe die Fahreigenschaften eines „beliebig ausgewähltes Fahrzeug“ zu analysieren, gegenüber einem Wettbewerbsumfeld zu positionieren und zu optimieren.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de-DE" dirty="0"/>
              <a:t>Dazu bilden Sie ein Zielfahrzeug in der Fahrdynamiksimulation </a:t>
            </a:r>
            <a:r>
              <a:rPr lang="de-DE" dirty="0" err="1"/>
              <a:t>CarMaker</a:t>
            </a:r>
            <a:r>
              <a:rPr lang="de-DE" dirty="0"/>
              <a:t> mittels Fahrzeugdatensatzgenerator ab und nutzen die geschaffene Umgebung für Analysen und Vergleichsrechnungen, zur Fahreigenschaftsbewertung und Optimierung.</a:t>
            </a: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Wählen Sie dazu ein beliebiges Fahrzeug aus Ihrem Umfeld, Händler, Internet etc. aus zu dem Sie Zugang haben. Sie dürfen auch Fahrzeuge aus der PSA WS21/22 Fahrwerkstechnik verwenden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Vermessen Sie das Fahrzeug oder beschaffen sich die Daten aus beliebigen Quellen wie Fahrzeugschein, technische Spezifikationen, Motorpresse etc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achen Sie eine Fotodokumentation* von allen Seiten und tragen alle wesentlichen Maße ein, die für die Fahrdynamik relevant sind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ben Sie alle notwendigen Daten in den </a:t>
            </a:r>
            <a:r>
              <a:rPr lang="de-DE" sz="1600" b="1" dirty="0" err="1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arMaker</a:t>
            </a:r>
            <a:r>
              <a:rPr lang="de-DE" sz="16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Fahrzeugdatensatzgenerator 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in und generieren ein Fahrzeugdatensatz. 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ben Sie die Quellen zu den Daten an (gemessen, Fahrzeugschein, etc.)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lle Daten, die Sie nicht beschaffen können dürfen Sie abschätzen. Bitte begründen Sie dazu die Auswahl z.B. an Hand von Literatur, Vergleichsdaten etc.  </a:t>
            </a:r>
            <a:endParaRPr lang="de-DE" sz="1600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7E2DD62-A160-4705-BD77-7B85CAEBB97C}"/>
              </a:ext>
            </a:extLst>
          </p:cNvPr>
          <p:cNvSpPr txBox="1"/>
          <p:nvPr/>
        </p:nvSpPr>
        <p:spPr>
          <a:xfrm>
            <a:off x="318626" y="5880392"/>
            <a:ext cx="11040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* Datenschutzhinweis: Decken Sie personenbezogene Daten, Nummernschilder und ähnliches ab.</a:t>
            </a:r>
          </a:p>
        </p:txBody>
      </p:sp>
    </p:spTree>
    <p:extLst>
      <p:ext uri="{BB962C8B-B14F-4D97-AF65-F5344CB8AC3E}">
        <p14:creationId xmlns:p14="http://schemas.microsoft.com/office/powerpoint/2010/main" val="4194801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todokumentation und Abmessun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 mit Maße und Massen: 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8DA38D6-C9A9-4166-A0B6-050CED5B0D40}"/>
              </a:ext>
            </a:extLst>
          </p:cNvPr>
          <p:cNvGrpSpPr/>
          <p:nvPr/>
        </p:nvGrpSpPr>
        <p:grpSpPr>
          <a:xfrm>
            <a:off x="427837" y="1647156"/>
            <a:ext cx="11140581" cy="3344293"/>
            <a:chOff x="436226" y="1932382"/>
            <a:chExt cx="10158913" cy="2993235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B1FF8992-81C1-464B-842B-AA3F5EA512AE}"/>
                </a:ext>
              </a:extLst>
            </p:cNvPr>
            <p:cNvSpPr/>
            <p:nvPr/>
          </p:nvSpPr>
          <p:spPr>
            <a:xfrm>
              <a:off x="436226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Seitenansicht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1C986636-5A15-44BB-B389-8C4AB86C9FA6}"/>
                </a:ext>
              </a:extLst>
            </p:cNvPr>
            <p:cNvSpPr/>
            <p:nvPr/>
          </p:nvSpPr>
          <p:spPr>
            <a:xfrm>
              <a:off x="3884024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Frontansicht</a:t>
              </a: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B645AD9-1EB0-438D-BDFE-455CBAE1B00D}"/>
                </a:ext>
              </a:extLst>
            </p:cNvPr>
            <p:cNvSpPr/>
            <p:nvPr/>
          </p:nvSpPr>
          <p:spPr>
            <a:xfrm>
              <a:off x="7331822" y="1932382"/>
              <a:ext cx="3263317" cy="299323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Heckabsicht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C66E467C-4540-4400-BC91-62E0C9F866BC}"/>
              </a:ext>
            </a:extLst>
          </p:cNvPr>
          <p:cNvSpPr txBox="1"/>
          <p:nvPr/>
        </p:nvSpPr>
        <p:spPr>
          <a:xfrm>
            <a:off x="427837" y="5210844"/>
            <a:ext cx="614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chemeClr val="tx1"/>
                </a:solidFill>
              </a:rPr>
              <a:t>Sonstige wichtige Maße und Massen: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2141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zeugdatensatz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Fahrzeugdatensatzgenerator für das Zielfahrzeug: 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CD1A5174-B1F0-45BB-B2C0-D3DDCDB83458}"/>
              </a:ext>
            </a:extLst>
          </p:cNvPr>
          <p:cNvGrpSpPr/>
          <p:nvPr/>
        </p:nvGrpSpPr>
        <p:grpSpPr>
          <a:xfrm>
            <a:off x="443215" y="1678295"/>
            <a:ext cx="8642062" cy="4294666"/>
            <a:chOff x="443215" y="1678295"/>
            <a:chExt cx="4483986" cy="2399195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FAB28DD8-077F-4AA6-A162-1C0456FA8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3215" y="1678295"/>
              <a:ext cx="2156362" cy="2399195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B4CB69A9-9A6F-4864-821D-DAAE32DFC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70839" y="1712291"/>
              <a:ext cx="2156362" cy="2365199"/>
            </a:xfrm>
            <a:prstGeom prst="rect">
              <a:avLst/>
            </a:prstGeom>
          </p:spPr>
        </p:pic>
      </p:grpSp>
      <p:sp>
        <p:nvSpPr>
          <p:cNvPr id="7" name="Legende: mit gebogener Linie 6">
            <a:extLst>
              <a:ext uri="{FF2B5EF4-FFF2-40B4-BE49-F238E27FC236}">
                <a16:creationId xmlns:a16="http://schemas.microsoft.com/office/drawing/2014/main" id="{728D728D-A35D-4081-A9E2-2EA53F64BB98}"/>
              </a:ext>
            </a:extLst>
          </p:cNvPr>
          <p:cNvSpPr/>
          <p:nvPr/>
        </p:nvSpPr>
        <p:spPr>
          <a:xfrm>
            <a:off x="9244668" y="2690663"/>
            <a:ext cx="1593908" cy="371319"/>
          </a:xfrm>
          <a:prstGeom prst="borderCallout2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ispiel: gemessen</a:t>
            </a:r>
          </a:p>
        </p:txBody>
      </p:sp>
      <p:sp>
        <p:nvSpPr>
          <p:cNvPr id="8" name="Legende: mit gebogener Linie 7">
            <a:extLst>
              <a:ext uri="{FF2B5EF4-FFF2-40B4-BE49-F238E27FC236}">
                <a16:creationId xmlns:a16="http://schemas.microsoft.com/office/drawing/2014/main" id="{F6DCF971-75CF-42B1-B1EB-5D3AE6EB43BD}"/>
              </a:ext>
            </a:extLst>
          </p:cNvPr>
          <p:cNvSpPr/>
          <p:nvPr/>
        </p:nvSpPr>
        <p:spPr>
          <a:xfrm>
            <a:off x="9244667" y="3136678"/>
            <a:ext cx="2055303" cy="371319"/>
          </a:xfrm>
          <a:prstGeom prst="borderCallout2">
            <a:avLst/>
          </a:prstGeom>
          <a:solidFill>
            <a:schemeClr val="bg1">
              <a:lumMod val="95000"/>
            </a:schemeClr>
          </a:solidFill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Beispiel: Fahrzeugschei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4A8C647-29A0-4487-9757-7D1FF5069FEB}"/>
              </a:ext>
            </a:extLst>
          </p:cNvPr>
          <p:cNvSpPr/>
          <p:nvPr/>
        </p:nvSpPr>
        <p:spPr>
          <a:xfrm>
            <a:off x="9244667" y="4633900"/>
            <a:ext cx="2768368" cy="132007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Bitte erzeugen Sie eine Screenshot Ihre Parameter damit ich die Simulationen nachvollziehen und nachsimulieren kann. </a:t>
            </a:r>
          </a:p>
        </p:txBody>
      </p:sp>
    </p:spTree>
    <p:extLst>
      <p:ext uri="{BB962C8B-B14F-4D97-AF65-F5344CB8AC3E}">
        <p14:creationId xmlns:p14="http://schemas.microsoft.com/office/powerpoint/2010/main" val="28372108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004036B-0674-4F29-99DE-45B26B6623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351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für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2"/>
            </a:pPr>
            <a:r>
              <a:rPr lang="de-DE" sz="1600" b="1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Führen Sie folgende Analysen für Vergleichsrechnungen mit dem Zielfahrzeug durch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Ackermannwinkel in der Simulation im Radius: 50,100,150 m.</a:t>
            </a: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Lenkrad (</a:t>
            </a:r>
            <a:r>
              <a:rPr lang="el-GR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φ</a:t>
            </a:r>
            <a:r>
              <a:rPr lang="de-DE" sz="1600" baseline="-250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600" baseline="-250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1257300" lvl="2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m Rad (</a:t>
            </a:r>
            <a:r>
              <a:rPr lang="el-GR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φ</a:t>
            </a: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Lenkübersetzung an Hand der Ergebnisse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0586608-93D2-4324-9F62-491672B9EB7A}"/>
              </a:ext>
            </a:extLst>
          </p:cNvPr>
          <p:cNvSpPr/>
          <p:nvPr/>
        </p:nvSpPr>
        <p:spPr>
          <a:xfrm>
            <a:off x="805342" y="2967135"/>
            <a:ext cx="3263317" cy="3020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Versuchsdarstellung und Beschreibung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8223A30D-AEB4-4901-970A-4B90E7973F16}"/>
              </a:ext>
            </a:extLst>
          </p:cNvPr>
          <p:cNvSpPr/>
          <p:nvPr/>
        </p:nvSpPr>
        <p:spPr>
          <a:xfrm>
            <a:off x="4253140" y="2967135"/>
            <a:ext cx="3263317" cy="3020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belle Ackermannwinkel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3A8C329-52B8-4BF8-AC76-9D18AE29D412}"/>
              </a:ext>
            </a:extLst>
          </p:cNvPr>
          <p:cNvSpPr/>
          <p:nvPr/>
        </p:nvSpPr>
        <p:spPr>
          <a:xfrm>
            <a:off x="7700938" y="2967135"/>
            <a:ext cx="3263317" cy="30209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Tabelle Lenkübersetzung</a:t>
            </a:r>
          </a:p>
        </p:txBody>
      </p:sp>
    </p:spTree>
    <p:extLst>
      <p:ext uri="{BB962C8B-B14F-4D97-AF65-F5344CB8AC3E}">
        <p14:creationId xmlns:p14="http://schemas.microsoft.com/office/powerpoint/2010/main" val="16326459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318F2CB-D147-49BD-9BBE-C994F4D663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695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4" imgH="424" progId="TCLayout.ActiveDocument.1">
                  <p:embed/>
                </p:oleObj>
              </mc:Choice>
              <mc:Fallback>
                <p:oleObj name="think-cell Slide" r:id="rId3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Analysen für Vergleichsrechnungen</a:t>
            </a:r>
            <a:endParaRPr lang="de-DE" dirty="0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29A0922-BB29-4148-ADFB-69F39A1D544B}"/>
              </a:ext>
            </a:extLst>
          </p:cNvPr>
          <p:cNvSpPr txBox="1"/>
          <p:nvPr/>
        </p:nvSpPr>
        <p:spPr>
          <a:xfrm>
            <a:off x="318626" y="944493"/>
            <a:ext cx="1126657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3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stimmen Sie den Eigenlenkgradient in der Simulation im Radius: 100 m. Bewerten Sie das Ergebnis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3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en Schräglauf an der Vorderachse und Hinterachse in der Simulation.</a:t>
            </a:r>
          </a:p>
          <a:p>
            <a:pPr marL="800100" lvl="1" indent="-342900">
              <a:spcBef>
                <a:spcPts val="300"/>
              </a:spcBef>
              <a:spcAft>
                <a:spcPts val="300"/>
              </a:spcAft>
              <a:buFont typeface="+mj-lt"/>
              <a:buAutoNum type="alphaLcParenR" startAt="3"/>
            </a:pPr>
            <a:r>
              <a:rPr lang="de-DE" sz="160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rmitteln Sie die Schräglaufsteifigkeit des Reifens basierend auf dem Plot des Model Check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0B2820D-58A2-4380-B1E1-07D3499028E5}"/>
              </a:ext>
            </a:extLst>
          </p:cNvPr>
          <p:cNvGrpSpPr/>
          <p:nvPr/>
        </p:nvGrpSpPr>
        <p:grpSpPr>
          <a:xfrm>
            <a:off x="805345" y="2603241"/>
            <a:ext cx="10972318" cy="3380197"/>
            <a:chOff x="805343" y="3254928"/>
            <a:chExt cx="10972318" cy="2733176"/>
          </a:xfrm>
        </p:grpSpPr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F5A4B2BF-314A-466D-A8EF-C29E7AC05051}"/>
                </a:ext>
              </a:extLst>
            </p:cNvPr>
            <p:cNvGrpSpPr/>
            <p:nvPr/>
          </p:nvGrpSpPr>
          <p:grpSpPr>
            <a:xfrm>
              <a:off x="805343" y="3254928"/>
              <a:ext cx="5333156" cy="2733176"/>
              <a:chOff x="805343" y="3254928"/>
              <a:chExt cx="5703402" cy="2733176"/>
            </a:xfrm>
          </p:grpSpPr>
          <p:sp>
            <p:nvSpPr>
              <p:cNvPr id="10" name="Rechteck 9">
                <a:extLst>
                  <a:ext uri="{FF2B5EF4-FFF2-40B4-BE49-F238E27FC236}">
                    <a16:creationId xmlns:a16="http://schemas.microsoft.com/office/drawing/2014/main" id="{00586608-93D2-4324-9F62-491672B9EB7A}"/>
                  </a:ext>
                </a:extLst>
              </p:cNvPr>
              <p:cNvSpPr/>
              <p:nvPr/>
            </p:nvSpPr>
            <p:spPr>
              <a:xfrm>
                <a:off x="805343" y="3254928"/>
                <a:ext cx="2764835" cy="273317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Ermittlung Eigenlenkgradient</a:t>
                </a:r>
              </a:p>
            </p:txBody>
          </p:sp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63A8C329-52B8-4BF8-AC76-9D18AE29D412}"/>
                  </a:ext>
                </a:extLst>
              </p:cNvPr>
              <p:cNvSpPr/>
              <p:nvPr/>
            </p:nvSpPr>
            <p:spPr>
              <a:xfrm>
                <a:off x="3743907" y="3254928"/>
                <a:ext cx="2764838" cy="273317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>
                    <a:solidFill>
                      <a:schemeClr val="tx1"/>
                    </a:solidFill>
                  </a:rPr>
                  <a:t>Ermittlung des Schräglaufes der Vorder-/Hinterachse in der Simulation</a:t>
                </a:r>
              </a:p>
            </p:txBody>
          </p:sp>
        </p:grpSp>
        <p:sp>
          <p:nvSpPr>
            <p:cNvPr id="9" name="Rechteck 4">
              <a:extLst>
                <a:ext uri="{FF2B5EF4-FFF2-40B4-BE49-F238E27FC236}">
                  <a16:creationId xmlns:a16="http://schemas.microsoft.com/office/drawing/2014/main" id="{83CD99F6-9D7F-4565-8DFA-A657181E61E5}"/>
                </a:ext>
              </a:extLst>
            </p:cNvPr>
            <p:cNvSpPr/>
            <p:nvPr/>
          </p:nvSpPr>
          <p:spPr>
            <a:xfrm>
              <a:off x="6300950" y="3254928"/>
              <a:ext cx="5476711" cy="27331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chemeClr val="tx1"/>
                  </a:solidFill>
                </a:rPr>
                <a:t>Schräglaufkennlinie des Reifen und Ermittlung der Schräglaufsteifigkeit und maximales Kraftpotential bei ½ Achslas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92415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_AdriveLivingLab_2020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86</Words>
  <Application>Microsoft Office PowerPoint</Application>
  <PresentationFormat>Widescreen</PresentationFormat>
  <Paragraphs>176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libri Light</vt:lpstr>
      <vt:lpstr>Cambria Math</vt:lpstr>
      <vt:lpstr>Symbol</vt:lpstr>
      <vt:lpstr>Master_AdriveLivingLab_2020</vt:lpstr>
      <vt:lpstr>think-cell Slide</vt:lpstr>
      <vt:lpstr>PowerPoint Presentation</vt:lpstr>
      <vt:lpstr>Deckblatt</vt:lpstr>
      <vt:lpstr>Einführung und Bearbeitungshinweis</vt:lpstr>
      <vt:lpstr>Einführung und Bearbeitungshinweis</vt:lpstr>
      <vt:lpstr>Projektaufgabe</vt:lpstr>
      <vt:lpstr>Fotodokumentation und Abmessungen</vt:lpstr>
      <vt:lpstr>Fahrzeugdatensatz</vt:lpstr>
      <vt:lpstr>Analysen für Vergleichsrechnungen</vt:lpstr>
      <vt:lpstr>Analysen für Vergleichsrechnungen</vt:lpstr>
      <vt:lpstr>Analysen für Vergleichsrechnungen</vt:lpstr>
      <vt:lpstr>Fahrdynamische Eigenschaften (1)</vt:lpstr>
      <vt:lpstr>Fahrdynamische Eigenschaften (2)</vt:lpstr>
      <vt:lpstr>Fahrdynamische Optimierung</vt:lpstr>
      <vt:lpstr>Fahrdynamische Analyse</vt:lpstr>
      <vt:lpstr>Fahrdynamische Analyse</vt:lpstr>
      <vt:lpstr>Wirksamkeitstest ESP</vt:lpstr>
      <vt:lpstr>Quellenverzeichnis</vt:lpstr>
    </vt:vector>
  </TitlesOfParts>
  <Company>Hochschule für angewandte Wissenschaften Kempt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ick, Bernhard</dc:creator>
  <cp:lastModifiedBy>Bernhard Schick</cp:lastModifiedBy>
  <cp:revision>160</cp:revision>
  <dcterms:created xsi:type="dcterms:W3CDTF">2020-07-03T11:29:42Z</dcterms:created>
  <dcterms:modified xsi:type="dcterms:W3CDTF">2023-05-07T18:54:17Z</dcterms:modified>
</cp:coreProperties>
</file>